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80" r:id="rId5"/>
    <p:sldMasterId id="2147483811" r:id="rId6"/>
    <p:sldMasterId id="2147483897" r:id="rId7"/>
    <p:sldMasterId id="2147483910" r:id="rId8"/>
    <p:sldMasterId id="2147483912" r:id="rId9"/>
    <p:sldMasterId id="2147483931" r:id="rId10"/>
  </p:sldMasterIdLst>
  <p:notesMasterIdLst>
    <p:notesMasterId r:id="rId12"/>
  </p:notesMasterIdLst>
  <p:sldIdLst>
    <p:sldId id="2147476618" r:id="rId11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B67094B-4E67-5650-9CBF-CD14517ECFE9}" name="Milica Bogdanovic" initials="MB" userId="S::mbogdanovic@e-bridge.com::2398567f-a3c2-4ae5-a6bb-6b9c3dd1ea6a" providerId="AD"/>
  <p188:author id="{20403468-D2A9-1949-F7A9-A297D44242EC}" name="Nijat Gasimov" initials="NG" userId="S::ngasimov@entsoe.eu::c2ada72c-961a-4dc2-9715-14ec576a85da" providerId="AD"/>
  <p188:author id="{9B9BE66D-084A-F520-E5E3-296898CF5429}" name="Milen Kostov" initials="MK" userId="S::mkostov1@entsoe.eu::c6bee525-a3e2-4915-af03-e6bea8b880f0" providerId="AD"/>
  <p188:author id="{ADB02192-29F0-699A-E736-0A4685CCE994}" name="Nijat Gasimov" initials="NG" userId="S::NGasimov@entsoe.eu::c2ada72c-961a-4dc2-9715-14ec576a85da" providerId="AD"/>
  <p188:author id="{71F766B2-FEBE-88E1-0EB4-13E842A26B23}" name="Alexander Koistinen" initials="AK" userId="S::a.koistinen@extern-tscnet.eu::db9d3e5f-8fae-4781-9b1b-2a7a81870532" providerId="AD"/>
  <p188:author id="{8C99E1C4-D40F-7B6D-903D-28244422CC05}" name="Cai Oliver Thier" initials="CT" userId="S::cthier_e-bridge.com#ext#@entsoe00.onmicrosoft.com::482e08a9-b9b0-4e3e-9410-4eafefc1b6cc" providerId="AD"/>
  <p188:author id="{55FAE5CC-FC23-DAB3-526C-0FD34DB5DAC2}" name="Philippe Moulin" initials="PM" userId="S::pmoulin@entsoe.eu::7a17ee25-a260-4fab-9c88-720eec0b3e89" providerId="AD"/>
  <p188:author id="{E94944D3-4802-F2B5-0B64-3D4780E5F250}" name="Engel, Lena" initials="EL" userId="S::lena.engel_tennet.eu#ext#@entsoe00.onmicrosoft.com::bb5f059f-9f3c-4859-b0af-b37d6d6bd45c" providerId="AD"/>
  <p188:author id="{98A8C0F7-2BFA-22EE-9CBA-8C5090036861}" name="Dalius Sulga" initials="" userId="S::dsulga@entsoe.eu::8e865064-87ba-400e-bfc1-fcca6b0a5b5d" providerId="AD"/>
  <p188:author id="{25C1C0FC-4D07-B83F-BE41-44B381EB32BB}" name="Cai Oliver Thier" initials="COT" userId="Cai Oliver Thi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2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434417-1FDB-4EBA-9CFC-CC603DD871FC}" v="403" dt="2025-01-15T11:31:00.984"/>
    <p1510:client id="{7AC49773-1878-0E51-73F0-CB2346D5EA68}" v="8" dt="2025-01-15T09:36:05.8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680" autoAdjust="0"/>
  </p:normalViewPr>
  <p:slideViewPr>
    <p:cSldViewPr snapToGrid="0">
      <p:cViewPr varScale="1">
        <p:scale>
          <a:sx n="50" d="100"/>
          <a:sy n="50" d="100"/>
        </p:scale>
        <p:origin x="126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jat Gasimov" userId="c2ada72c-961a-4dc2-9715-14ec576a85da" providerId="ADAL" clId="{0A434417-1FDB-4EBA-9CFC-CC603DD871FC}"/>
    <pc:docChg chg="custSel modSld">
      <pc:chgData name="Nijat Gasimov" userId="c2ada72c-961a-4dc2-9715-14ec576a85da" providerId="ADAL" clId="{0A434417-1FDB-4EBA-9CFC-CC603DD871FC}" dt="2025-01-15T11:31:00.984" v="402" actId="20577"/>
      <pc:docMkLst>
        <pc:docMk/>
      </pc:docMkLst>
      <pc:sldChg chg="modSp mod">
        <pc:chgData name="Nijat Gasimov" userId="c2ada72c-961a-4dc2-9715-14ec576a85da" providerId="ADAL" clId="{0A434417-1FDB-4EBA-9CFC-CC603DD871FC}" dt="2025-01-15T11:31:00.984" v="402" actId="20577"/>
        <pc:sldMkLst>
          <pc:docMk/>
          <pc:sldMk cId="3905038940" sldId="2145707569"/>
        </pc:sldMkLst>
        <pc:spChg chg="mod">
          <ac:chgData name="Nijat Gasimov" userId="c2ada72c-961a-4dc2-9715-14ec576a85da" providerId="ADAL" clId="{0A434417-1FDB-4EBA-9CFC-CC603DD871FC}" dt="2025-01-15T11:31:00.984" v="402" actId="20577"/>
          <ac:spMkLst>
            <pc:docMk/>
            <pc:sldMk cId="3905038940" sldId="2145707569"/>
            <ac:spMk id="4" creationId="{6233C5AC-3723-1246-C36D-031367AB8D8D}"/>
          </ac:spMkLst>
        </pc:spChg>
      </pc:sldChg>
    </pc:docChg>
  </pc:docChgLst>
  <pc:docChgLst>
    <pc:chgData name="Alexander Koistinen" userId="S::akoistinen@entsoe.eu::72938bec-5c1c-4d89-acee-98605407696b" providerId="AD" clId="Web-{3A5322DF-C113-90FC-C07E-DA6344F69C79}"/>
    <pc:docChg chg="addSld sldOrd">
      <pc:chgData name="Alexander Koistinen" userId="S::akoistinen@entsoe.eu::72938bec-5c1c-4d89-acee-98605407696b" providerId="AD" clId="Web-{3A5322DF-C113-90FC-C07E-DA6344F69C79}" dt="2025-01-07T10:18:23.505" v="2"/>
      <pc:docMkLst>
        <pc:docMk/>
      </pc:docMkLst>
      <pc:sldChg chg="ord">
        <pc:chgData name="Alexander Koistinen" userId="S::akoistinen@entsoe.eu::72938bec-5c1c-4d89-acee-98605407696b" providerId="AD" clId="Web-{3A5322DF-C113-90FC-C07E-DA6344F69C79}" dt="2025-01-07T10:18:23.505" v="2"/>
        <pc:sldMkLst>
          <pc:docMk/>
          <pc:sldMk cId="1438041472" sldId="455"/>
        </pc:sldMkLst>
      </pc:sldChg>
      <pc:sldChg chg="ord">
        <pc:chgData name="Alexander Koistinen" userId="S::akoistinen@entsoe.eu::72938bec-5c1c-4d89-acee-98605407696b" providerId="AD" clId="Web-{3A5322DF-C113-90FC-C07E-DA6344F69C79}" dt="2025-01-07T10:18:23.505" v="1"/>
        <pc:sldMkLst>
          <pc:docMk/>
          <pc:sldMk cId="344124177" sldId="456"/>
        </pc:sldMkLst>
      </pc:sldChg>
      <pc:sldChg chg="add">
        <pc:chgData name="Alexander Koistinen" userId="S::akoistinen@entsoe.eu::72938bec-5c1c-4d89-acee-98605407696b" providerId="AD" clId="Web-{3A5322DF-C113-90FC-C07E-DA6344F69C79}" dt="2025-01-07T10:17:11.049" v="0"/>
        <pc:sldMkLst>
          <pc:docMk/>
          <pc:sldMk cId="237541573" sldId="2145707572"/>
        </pc:sldMkLst>
      </pc:sldChg>
    </pc:docChg>
  </pc:docChgLst>
  <pc:docChgLst>
    <pc:chgData name="Nijat Gasimov" userId="c2ada72c-961a-4dc2-9715-14ec576a85da" providerId="ADAL" clId="{EC519DD6-C6F6-46D9-B87C-1A9050D44B6B}"/>
    <pc:docChg chg="addSld modSld sldOrd">
      <pc:chgData name="Nijat Gasimov" userId="c2ada72c-961a-4dc2-9715-14ec576a85da" providerId="ADAL" clId="{EC519DD6-C6F6-46D9-B87C-1A9050D44B6B}" dt="2025-01-07T11:58:41.123" v="2"/>
      <pc:docMkLst>
        <pc:docMk/>
      </pc:docMkLst>
      <pc:sldChg chg="add">
        <pc:chgData name="Nijat Gasimov" userId="c2ada72c-961a-4dc2-9715-14ec576a85da" providerId="ADAL" clId="{EC519DD6-C6F6-46D9-B87C-1A9050D44B6B}" dt="2025-01-06T10:12:49.561" v="0"/>
        <pc:sldMkLst>
          <pc:docMk/>
          <pc:sldMk cId="1475076280" sldId="301"/>
        </pc:sldMkLst>
      </pc:sldChg>
      <pc:sldChg chg="add">
        <pc:chgData name="Nijat Gasimov" userId="c2ada72c-961a-4dc2-9715-14ec576a85da" providerId="ADAL" clId="{EC519DD6-C6F6-46D9-B87C-1A9050D44B6B}" dt="2025-01-06T10:12:49.561" v="0"/>
        <pc:sldMkLst>
          <pc:docMk/>
          <pc:sldMk cId="3818425451" sldId="302"/>
        </pc:sldMkLst>
      </pc:sldChg>
      <pc:sldChg chg="ord">
        <pc:chgData name="Nijat Gasimov" userId="c2ada72c-961a-4dc2-9715-14ec576a85da" providerId="ADAL" clId="{EC519DD6-C6F6-46D9-B87C-1A9050D44B6B}" dt="2025-01-07T11:58:41.123" v="2"/>
        <pc:sldMkLst>
          <pc:docMk/>
          <pc:sldMk cId="1438041472" sldId="455"/>
        </pc:sldMkLst>
      </pc:sldChg>
      <pc:sldChg chg="ord">
        <pc:chgData name="Nijat Gasimov" userId="c2ada72c-961a-4dc2-9715-14ec576a85da" providerId="ADAL" clId="{EC519DD6-C6F6-46D9-B87C-1A9050D44B6B}" dt="2025-01-07T11:58:41.123" v="2"/>
        <pc:sldMkLst>
          <pc:docMk/>
          <pc:sldMk cId="344124177" sldId="456"/>
        </pc:sldMkLst>
      </pc:sldChg>
    </pc:docChg>
  </pc:docChgLst>
  <pc:docChgLst>
    <pc:chgData name="Alexander Koistinen" userId="S::akoistinen@entsoe.eu::72938bec-5c1c-4d89-acee-98605407696b" providerId="AD" clId="Web-{9740D3D5-6E7B-462F-294B-56D95B4BDAF6}"/>
    <pc:docChg chg="modSld">
      <pc:chgData name="Alexander Koistinen" userId="S::akoistinen@entsoe.eu::72938bec-5c1c-4d89-acee-98605407696b" providerId="AD" clId="Web-{9740D3D5-6E7B-462F-294B-56D95B4BDAF6}" dt="2025-01-07T10:54:07.017" v="68" actId="20577"/>
      <pc:docMkLst>
        <pc:docMk/>
      </pc:docMkLst>
      <pc:sldChg chg="modSp">
        <pc:chgData name="Alexander Koistinen" userId="S::akoistinen@entsoe.eu::72938bec-5c1c-4d89-acee-98605407696b" providerId="AD" clId="Web-{9740D3D5-6E7B-462F-294B-56D95B4BDAF6}" dt="2025-01-07T10:54:07.017" v="68" actId="20577"/>
        <pc:sldMkLst>
          <pc:docMk/>
          <pc:sldMk cId="237541573" sldId="2145707572"/>
        </pc:sldMkLst>
        <pc:spChg chg="mod">
          <ac:chgData name="Alexander Koistinen" userId="S::akoistinen@entsoe.eu::72938bec-5c1c-4d89-acee-98605407696b" providerId="AD" clId="Web-{9740D3D5-6E7B-462F-294B-56D95B4BDAF6}" dt="2025-01-07T10:54:07.017" v="68" actId="20577"/>
          <ac:spMkLst>
            <pc:docMk/>
            <pc:sldMk cId="237541573" sldId="2145707572"/>
            <ac:spMk id="5" creationId="{7656364A-5DF0-1C62-F46D-C6DE387F3B9A}"/>
          </ac:spMkLst>
        </pc:spChg>
      </pc:sldChg>
    </pc:docChg>
  </pc:docChgLst>
  <pc:docChgLst>
    <pc:chgData name="Alexander Koistinen" userId="S::akoistinen@entsoe.eu::72938bec-5c1c-4d89-acee-98605407696b" providerId="AD" clId="Web-{09653060-623A-09E6-97FD-C8E32BB4EB05}"/>
    <pc:docChg chg="modSld">
      <pc:chgData name="Alexander Koistinen" userId="S::akoistinen@entsoe.eu::72938bec-5c1c-4d89-acee-98605407696b" providerId="AD" clId="Web-{09653060-623A-09E6-97FD-C8E32BB4EB05}" dt="2025-01-10T08:15:46.365" v="195" actId="20577"/>
      <pc:docMkLst>
        <pc:docMk/>
      </pc:docMkLst>
      <pc:sldChg chg="addSp modSp">
        <pc:chgData name="Alexander Koistinen" userId="S::akoistinen@entsoe.eu::72938bec-5c1c-4d89-acee-98605407696b" providerId="AD" clId="Web-{09653060-623A-09E6-97FD-C8E32BB4EB05}" dt="2025-01-10T08:15:46.365" v="195" actId="20577"/>
        <pc:sldMkLst>
          <pc:docMk/>
          <pc:sldMk cId="3818425451" sldId="302"/>
        </pc:sldMkLst>
        <pc:spChg chg="add mod">
          <ac:chgData name="Alexander Koistinen" userId="S::akoistinen@entsoe.eu::72938bec-5c1c-4d89-acee-98605407696b" providerId="AD" clId="Web-{09653060-623A-09E6-97FD-C8E32BB4EB05}" dt="2025-01-10T08:15:46.365" v="195" actId="20577"/>
          <ac:spMkLst>
            <pc:docMk/>
            <pc:sldMk cId="3818425451" sldId="302"/>
            <ac:spMk id="4" creationId="{2610C609-3511-0E49-3838-49F8A0D7250A}"/>
          </ac:spMkLst>
        </pc:spChg>
      </pc:sldChg>
    </pc:docChg>
  </pc:docChgLst>
  <pc:docChgLst>
    <pc:chgData name="Henschke, Phillipp" userId="S::phillipp.henschke_tennet.eu#ext#@entsoe00.onmicrosoft.com::6f0f89e7-0fab-40e4-9dd0-3df5d52414d7" providerId="AD" clId="Web-{8C6C6141-5545-107C-EE78-E750D388C175}"/>
    <pc:docChg chg="modSld">
      <pc:chgData name="Henschke, Phillipp" userId="S::phillipp.henschke_tennet.eu#ext#@entsoe00.onmicrosoft.com::6f0f89e7-0fab-40e4-9dd0-3df5d52414d7" providerId="AD" clId="Web-{8C6C6141-5545-107C-EE78-E750D388C175}" dt="2025-01-07T09:20:13.890" v="3" actId="20577"/>
      <pc:docMkLst>
        <pc:docMk/>
      </pc:docMkLst>
      <pc:sldChg chg="modSp">
        <pc:chgData name="Henschke, Phillipp" userId="S::phillipp.henschke_tennet.eu#ext#@entsoe00.onmicrosoft.com::6f0f89e7-0fab-40e4-9dd0-3df5d52414d7" providerId="AD" clId="Web-{8C6C6141-5545-107C-EE78-E750D388C175}" dt="2025-01-07T09:20:13.890" v="3" actId="20577"/>
        <pc:sldMkLst>
          <pc:docMk/>
          <pc:sldMk cId="3782085418" sldId="2145707570"/>
        </pc:sldMkLst>
        <pc:spChg chg="mod">
          <ac:chgData name="Henschke, Phillipp" userId="S::phillipp.henschke_tennet.eu#ext#@entsoe00.onmicrosoft.com::6f0f89e7-0fab-40e4-9dd0-3df5d52414d7" providerId="AD" clId="Web-{8C6C6141-5545-107C-EE78-E750D388C175}" dt="2025-01-07T09:20:13.890" v="3" actId="20577"/>
          <ac:spMkLst>
            <pc:docMk/>
            <pc:sldMk cId="3782085418" sldId="2145707570"/>
            <ac:spMk id="4" creationId="{6233C5AC-3723-1246-C36D-031367AB8D8D}"/>
          </ac:spMkLst>
        </pc:spChg>
      </pc:sldChg>
    </pc:docChg>
  </pc:docChgLst>
  <pc:docChgLst>
    <pc:chgData name="Alexander Koistinen" userId="S::akoistinen@entsoe.eu::72938bec-5c1c-4d89-acee-98605407696b" providerId="AD" clId="Web-{7AC49773-1878-0E51-73F0-CB2346D5EA68}"/>
    <pc:docChg chg="modSld">
      <pc:chgData name="Alexander Koistinen" userId="S::akoistinen@entsoe.eu::72938bec-5c1c-4d89-acee-98605407696b" providerId="AD" clId="Web-{7AC49773-1878-0E51-73F0-CB2346D5EA68}" dt="2025-01-15T09:36:05.878" v="7" actId="20577"/>
      <pc:docMkLst>
        <pc:docMk/>
      </pc:docMkLst>
      <pc:sldChg chg="modSp">
        <pc:chgData name="Alexander Koistinen" userId="S::akoistinen@entsoe.eu::72938bec-5c1c-4d89-acee-98605407696b" providerId="AD" clId="Web-{7AC49773-1878-0E51-73F0-CB2346D5EA68}" dt="2025-01-15T09:36:05.878" v="7" actId="20577"/>
        <pc:sldMkLst>
          <pc:docMk/>
          <pc:sldMk cId="1448844210" sldId="2145707566"/>
        </pc:sldMkLst>
        <pc:spChg chg="mod">
          <ac:chgData name="Alexander Koistinen" userId="S::akoistinen@entsoe.eu::72938bec-5c1c-4d89-acee-98605407696b" providerId="AD" clId="Web-{7AC49773-1878-0E51-73F0-CB2346D5EA68}" dt="2025-01-15T09:36:05.878" v="7" actId="20577"/>
          <ac:spMkLst>
            <pc:docMk/>
            <pc:sldMk cId="1448844210" sldId="2145707566"/>
            <ac:spMk id="4" creationId="{6233C5AC-3723-1246-C36D-031367AB8D8D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;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/</a:t>
            </a:r>
            <a:r>
              <a:rPr lang="de-DE" dirty="0" err="1"/>
              <a:t>colour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ppea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3B4D4-FE3E-164E-908F-33FC34765FD0}" type="datetimeFigureOut">
              <a:rPr lang="de-DE" smtClean="0"/>
              <a:t>10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32290E-CE32-7240-9136-FAA98029C45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2960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BD68D-409B-4200-AFA1-D777C6E072D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4119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3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1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4.png"/><Relationship Id="rId5" Type="http://schemas.openxmlformats.org/officeDocument/2006/relationships/image" Target="../media/image27.png"/><Relationship Id="rId4" Type="http://schemas.openxmlformats.org/officeDocument/2006/relationships/image" Target="../media/image1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1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661399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1198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913720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090861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08959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24630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894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275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368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142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 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209131" y="6357822"/>
            <a:ext cx="7027333" cy="36521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126164" y="6357822"/>
            <a:ext cx="575922" cy="365210"/>
          </a:xfrm>
          <a:prstGeom prst="rect">
            <a:avLst/>
          </a:prstGeom>
        </p:spPr>
        <p:txBody>
          <a:bodyPr vert="horz" wrap="square" lIns="90000" tIns="60958" rIns="90000" bIns="60958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 b="0" i="0" u="none" kern="1200" spc="0">
                <a:solidFill>
                  <a:srgbClr val="6F7072">
                    <a:lumMod val="100000"/>
                  </a:srgbClr>
                </a:solidFill>
                <a:latin typeface="Segoe UI" panose="020B0502040204020203" pitchFamily="34" charset="0"/>
              </a:defRPr>
            </a:lvl1pPr>
          </a:lstStyle>
          <a:p>
            <a:fld id="{D6484892-6D47-5B45-A93E-1BDE9CE45C3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9286434" y="289846"/>
            <a:ext cx="2415652" cy="2889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000">
                <a:solidFill>
                  <a:schemeClr val="accent3"/>
                </a:solidFill>
              </a:defRPr>
            </a:lvl1pPr>
            <a:lvl2pPr algn="l">
              <a:defRPr sz="1000"/>
            </a:lvl2pPr>
            <a:lvl3pPr algn="l">
              <a:defRPr sz="1000"/>
            </a:lvl3pPr>
            <a:lvl4pPr algn="l">
              <a:defRPr sz="1000"/>
            </a:lvl4pPr>
            <a:lvl5pPr algn="l">
              <a:defRPr sz="1000"/>
            </a:lvl5pPr>
          </a:lstStyle>
          <a:p>
            <a:pPr lvl="0"/>
            <a:r>
              <a:rPr lang="de-DE"/>
              <a:t>Chapter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773584"/>
            <a:ext cx="10991850" cy="430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/>
              <a:t>Edit </a:t>
            </a:r>
            <a:r>
              <a:rPr lang="de-DE" err="1"/>
              <a:t>master</a:t>
            </a:r>
            <a:r>
              <a:rPr lang="de-DE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89709026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493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>
            <a:extLst>
              <a:ext uri="{FF2B5EF4-FFF2-40B4-BE49-F238E27FC236}">
                <a16:creationId xmlns:a16="http://schemas.microsoft.com/office/drawing/2014/main" id="{E3217584-8D20-4380-BB01-BE1908521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2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1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C648BC7-A18A-4A39-805B-D1DC80B0E9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2" y="1451045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1"/>
              </a:lnSpc>
              <a:spcBef>
                <a:spcPts val="0"/>
              </a:spcBef>
              <a:buNone/>
              <a:defRPr sz="2000" b="0" i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6" indent="0">
              <a:lnSpc>
                <a:spcPts val="2601"/>
              </a:lnSpc>
              <a:buNone/>
              <a:defRPr/>
            </a:lvl2pPr>
            <a:lvl3pPr marL="914411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10" name="Rechteck 1">
            <a:extLst>
              <a:ext uri="{FF2B5EF4-FFF2-40B4-BE49-F238E27FC236}">
                <a16:creationId xmlns:a16="http://schemas.microsoft.com/office/drawing/2014/main" id="{A331ABB7-B6F3-4D26-B61C-EFA0A39BA0A8}"/>
              </a:ext>
            </a:extLst>
          </p:cNvPr>
          <p:cNvSpPr/>
          <p:nvPr userDrawn="1"/>
        </p:nvSpPr>
        <p:spPr>
          <a:xfrm flipH="1">
            <a:off x="480002" y="432000"/>
            <a:ext cx="62484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23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76800" y="1965600"/>
            <a:ext cx="11548800" cy="1173600"/>
          </a:xfrm>
          <a:noFill/>
          <a:effectLst/>
        </p:spPr>
        <p:txBody>
          <a:bodyPr wrap="square">
            <a:normAutofit/>
          </a:bodyPr>
          <a:lstStyle>
            <a:lvl1pPr marL="795600" indent="-795600">
              <a:lnSpc>
                <a:spcPts val="45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0" y="3240001"/>
            <a:ext cx="10752000" cy="384721"/>
          </a:xfrm>
        </p:spPr>
        <p:txBody>
          <a:bodyPr lIns="0" rIns="0">
            <a:spAutoFit/>
          </a:bodyPr>
          <a:lstStyle>
            <a:lvl1pPr marL="0" indent="0" algn="l">
              <a:lnSpc>
                <a:spcPts val="3000"/>
              </a:lnSpc>
              <a:buNone/>
              <a:defRPr sz="26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5164668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5563253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rname</a:t>
            </a:r>
          </a:p>
        </p:txBody>
      </p:sp>
      <p:sp>
        <p:nvSpPr>
          <p:cNvPr id="12" name="Zástupný symbol pro datum 11"/>
          <p:cNvSpPr>
            <a:spLocks noGrp="1"/>
          </p:cNvSpPr>
          <p:nvPr>
            <p:ph type="dt" sz="half" idx="15"/>
          </p:nvPr>
        </p:nvSpPr>
        <p:spPr>
          <a:xfrm>
            <a:off x="720000" y="6356357"/>
            <a:ext cx="2743200" cy="365125"/>
          </a:xfrm>
        </p:spPr>
        <p:txBody>
          <a:bodyPr/>
          <a:lstStyle/>
          <a:p>
            <a:r>
              <a:rPr lang="en-GB" noProof="0"/>
              <a:t>18/04/2017</a:t>
            </a:r>
            <a:endParaRPr lang="en-US" noProof="0"/>
          </a:p>
        </p:txBody>
      </p:sp>
      <p:pic>
        <p:nvPicPr>
          <p:cNvPr id="16" name="Obráze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4146" y="5072863"/>
            <a:ext cx="1360800" cy="13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1810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/o Q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76800" y="1965600"/>
            <a:ext cx="11548800" cy="1173600"/>
          </a:xfrm>
          <a:noFill/>
          <a:effectLst/>
        </p:spPr>
        <p:txBody>
          <a:bodyPr wrap="square">
            <a:normAutofit/>
          </a:bodyPr>
          <a:lstStyle>
            <a:lvl1pPr marL="795600" indent="-795600">
              <a:lnSpc>
                <a:spcPts val="45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0" y="3240001"/>
            <a:ext cx="10752000" cy="384721"/>
          </a:xfrm>
        </p:spPr>
        <p:txBody>
          <a:bodyPr lIns="0" rIns="0">
            <a:spAutoFit/>
          </a:bodyPr>
          <a:lstStyle>
            <a:lvl1pPr marL="0" indent="0" algn="l">
              <a:lnSpc>
                <a:spcPts val="3000"/>
              </a:lnSpc>
              <a:buNone/>
              <a:defRPr sz="26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5164668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5563253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rname</a:t>
            </a:r>
          </a:p>
        </p:txBody>
      </p:sp>
      <p:sp>
        <p:nvSpPr>
          <p:cNvPr id="12" name="Zástupný symbol pro datum 11"/>
          <p:cNvSpPr>
            <a:spLocks noGrp="1"/>
          </p:cNvSpPr>
          <p:nvPr>
            <p:ph type="dt" sz="half" idx="15"/>
          </p:nvPr>
        </p:nvSpPr>
        <p:spPr>
          <a:xfrm>
            <a:off x="720000" y="6356357"/>
            <a:ext cx="2743200" cy="365125"/>
          </a:xfrm>
        </p:spPr>
        <p:txBody>
          <a:bodyPr/>
          <a:lstStyle/>
          <a:p>
            <a:r>
              <a:rPr lang="en-GB"/>
              <a:t>18/04/2017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2867624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76800" y="1965600"/>
            <a:ext cx="11548800" cy="1173600"/>
          </a:xfrm>
          <a:noFill/>
          <a:effectLst/>
        </p:spPr>
        <p:txBody>
          <a:bodyPr wrap="square">
            <a:normAutofit/>
          </a:bodyPr>
          <a:lstStyle>
            <a:lvl1pPr marL="795600" indent="-795600">
              <a:lnSpc>
                <a:spcPts val="45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0" y="3240001"/>
            <a:ext cx="10752000" cy="384721"/>
          </a:xfrm>
        </p:spPr>
        <p:txBody>
          <a:bodyPr lIns="0" rIns="0">
            <a:spAutoFit/>
          </a:bodyPr>
          <a:lstStyle>
            <a:lvl1pPr marL="0" indent="0" algn="l">
              <a:lnSpc>
                <a:spcPts val="3000"/>
              </a:lnSpc>
              <a:buNone/>
              <a:defRPr sz="26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5164668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5563253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rname</a:t>
            </a:r>
          </a:p>
        </p:txBody>
      </p:sp>
      <p:sp>
        <p:nvSpPr>
          <p:cNvPr id="12" name="Zástupný symbol pro datum 11"/>
          <p:cNvSpPr>
            <a:spLocks noGrp="1"/>
          </p:cNvSpPr>
          <p:nvPr>
            <p:ph type="dt" sz="half" idx="15"/>
          </p:nvPr>
        </p:nvSpPr>
        <p:spPr>
          <a:xfrm>
            <a:off x="720000" y="6356357"/>
            <a:ext cx="2743200" cy="365125"/>
          </a:xfrm>
        </p:spPr>
        <p:txBody>
          <a:bodyPr/>
          <a:lstStyle/>
          <a:p>
            <a:fld id="{6772A6CC-3F41-4C8C-AD90-B00785797DA3}" type="datetime1">
              <a:rPr lang="en-US" noProof="0" smtClean="0"/>
              <a:t>2/10/2025</a:t>
            </a:fld>
            <a:endParaRPr lang="en-US" noProof="0"/>
          </a:p>
        </p:txBody>
      </p:sp>
      <p:pic>
        <p:nvPicPr>
          <p:cNvPr id="16" name="Obráze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4146" y="5072863"/>
            <a:ext cx="1360800" cy="13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66675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w/o Q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76800" y="1965600"/>
            <a:ext cx="11548800" cy="1173600"/>
          </a:xfrm>
          <a:noFill/>
          <a:effectLst/>
        </p:spPr>
        <p:txBody>
          <a:bodyPr wrap="square">
            <a:normAutofit/>
          </a:bodyPr>
          <a:lstStyle>
            <a:lvl1pPr marL="795600" indent="-795600">
              <a:lnSpc>
                <a:spcPts val="45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0" y="3240001"/>
            <a:ext cx="10752000" cy="384721"/>
          </a:xfrm>
        </p:spPr>
        <p:txBody>
          <a:bodyPr lIns="0" rIns="0">
            <a:spAutoFit/>
          </a:bodyPr>
          <a:lstStyle>
            <a:lvl1pPr marL="0" indent="0" algn="l">
              <a:lnSpc>
                <a:spcPts val="3000"/>
              </a:lnSpc>
              <a:buNone/>
              <a:defRPr sz="26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5164668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5563253"/>
            <a:ext cx="3652091" cy="336905"/>
          </a:xfrm>
        </p:spPr>
        <p:txBody>
          <a:bodyPr lIns="0" rIns="0">
            <a:noAutofit/>
          </a:bodyPr>
          <a:lstStyle>
            <a:lvl1pPr marL="0" indent="0">
              <a:buNone/>
              <a:defRPr sz="1875" baseline="0">
                <a:solidFill>
                  <a:schemeClr val="bg1"/>
                </a:solidFill>
              </a:defRPr>
            </a:lvl1pPr>
            <a:lvl2pPr marL="342892" indent="0">
              <a:buNone/>
              <a:defRPr sz="1800">
                <a:solidFill>
                  <a:schemeClr val="bg1"/>
                </a:solidFill>
              </a:defRPr>
            </a:lvl2pPr>
            <a:lvl3pPr marL="685783" indent="0">
              <a:buNone/>
              <a:defRPr sz="1800">
                <a:solidFill>
                  <a:schemeClr val="bg1"/>
                </a:solidFill>
              </a:defRPr>
            </a:lvl3pPr>
            <a:lvl4pPr marL="1028675" indent="0">
              <a:buNone/>
              <a:defRPr sz="1800">
                <a:solidFill>
                  <a:schemeClr val="bg1"/>
                </a:solidFill>
              </a:defRPr>
            </a:lvl4pPr>
            <a:lvl5pPr marL="137156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rname</a:t>
            </a:r>
          </a:p>
        </p:txBody>
      </p:sp>
      <p:sp>
        <p:nvSpPr>
          <p:cNvPr id="12" name="Zástupný symbol pro datum 11"/>
          <p:cNvSpPr>
            <a:spLocks noGrp="1"/>
          </p:cNvSpPr>
          <p:nvPr>
            <p:ph type="dt" sz="half" idx="15"/>
          </p:nvPr>
        </p:nvSpPr>
        <p:spPr>
          <a:xfrm>
            <a:off x="720000" y="6356357"/>
            <a:ext cx="2743200" cy="365125"/>
          </a:xfrm>
        </p:spPr>
        <p:txBody>
          <a:bodyPr/>
          <a:lstStyle/>
          <a:p>
            <a:fld id="{DCBE0E69-711A-4C11-9C24-2566ABE92A70}" type="datetime1">
              <a:rPr lang="en-US" smtClean="0"/>
              <a:t>2/10/20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72069825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7"/>
          <a:stretch/>
        </p:blipFill>
        <p:spPr>
          <a:xfrm>
            <a:off x="7166555" y="1144295"/>
            <a:ext cx="5025445" cy="4903200"/>
          </a:xfrm>
          <a:prstGeom prst="rect">
            <a:avLst/>
          </a:prstGeom>
        </p:spPr>
      </p:pic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0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09166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, 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0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86028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About U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bout Us</a:t>
            </a:r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199" y="668913"/>
            <a:ext cx="4773582" cy="4669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9208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Our Soluti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Our Solutions</a:t>
            </a:r>
            <a:endParaRPr lang="cs-CZ"/>
          </a:p>
        </p:txBody>
      </p:sp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41633"/>
            <a:ext cx="3273836" cy="4852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844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Clien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ents</a:t>
            </a:r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307" y="547138"/>
            <a:ext cx="5182049" cy="504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475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2903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Why Unicor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Why Unicorn</a:t>
            </a:r>
            <a:endParaRPr lang="cs-CZ"/>
          </a:p>
        </p:txBody>
      </p:sp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1583" y="613244"/>
            <a:ext cx="5413717" cy="474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657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440" y="582917"/>
            <a:ext cx="4779678" cy="493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18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pyright © Unicorn Systems a.s.</a:t>
            </a: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9" name="Nadpis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quarter" idx="13" hasCustomPrompt="1"/>
          </p:nvPr>
        </p:nvSpPr>
        <p:spPr>
          <a:xfrm>
            <a:off x="480000" y="1080000"/>
            <a:ext cx="11232000" cy="547200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35768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pyright © Unicorn Systems a.s.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40891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pyright © Unicorn Systems a.s.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7" name="Zástupný symbol pro obsah 6"/>
          <p:cNvSpPr>
            <a:spLocks noGrp="1"/>
          </p:cNvSpPr>
          <p:nvPr>
            <p:ph sz="quarter" idx="13" hasCustomPrompt="1"/>
          </p:nvPr>
        </p:nvSpPr>
        <p:spPr>
          <a:xfrm>
            <a:off x="480484" y="1079999"/>
            <a:ext cx="5376000" cy="547200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Zástupný symbol pro obsah 8"/>
          <p:cNvSpPr>
            <a:spLocks noGrp="1"/>
          </p:cNvSpPr>
          <p:nvPr>
            <p:ph sz="quarter" idx="14" hasCustomPrompt="1"/>
          </p:nvPr>
        </p:nvSpPr>
        <p:spPr>
          <a:xfrm>
            <a:off x="6336000" y="1079999"/>
            <a:ext cx="5376000" cy="5472000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53307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title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pyright © Unicorn Systems a.s.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8" name="Zástupný symbol pro obsah 6"/>
          <p:cNvSpPr>
            <a:spLocks noGrp="1"/>
          </p:cNvSpPr>
          <p:nvPr>
            <p:ph sz="quarter" idx="13" hasCustomPrompt="1"/>
          </p:nvPr>
        </p:nvSpPr>
        <p:spPr>
          <a:xfrm>
            <a:off x="479425" y="1084263"/>
            <a:ext cx="11232000" cy="1620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000"/>
            </a:lvl1pPr>
            <a:lvl2pPr marL="324000" indent="0">
              <a:lnSpc>
                <a:spcPct val="110000"/>
              </a:lnSpc>
              <a:buNone/>
              <a:defRPr sz="1800"/>
            </a:lvl2pPr>
            <a:lvl3pPr marL="720000" indent="0">
              <a:lnSpc>
                <a:spcPct val="110000"/>
              </a:lnSpc>
              <a:buNone/>
              <a:defRPr sz="1600"/>
            </a:lvl3pPr>
            <a:lvl4pPr marL="1116000" indent="0">
              <a:lnSpc>
                <a:spcPct val="110000"/>
              </a:lnSpc>
              <a:buNone/>
              <a:defRPr sz="1400"/>
            </a:lvl4pPr>
            <a:lvl5pPr marL="1512000" indent="0">
              <a:lnSpc>
                <a:spcPct val="110000"/>
              </a:lnSpc>
              <a:buNone/>
              <a:defRPr sz="12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" name="Zástupný symbol pro text 10"/>
          <p:cNvSpPr>
            <a:spLocks noGrp="1"/>
          </p:cNvSpPr>
          <p:nvPr>
            <p:ph type="body" sz="quarter" idx="14" hasCustomPrompt="1"/>
          </p:nvPr>
        </p:nvSpPr>
        <p:spPr>
          <a:xfrm>
            <a:off x="479998" y="2880000"/>
            <a:ext cx="6840000" cy="3357288"/>
          </a:xfrm>
        </p:spPr>
        <p:txBody>
          <a:bodyPr/>
          <a:lstStyle>
            <a:lvl1pPr marL="252000" indent="-252000">
              <a:spcBef>
                <a:spcPts val="300"/>
              </a:spcBef>
              <a:spcAft>
                <a:spcPts val="500"/>
              </a:spcAft>
              <a:buClr>
                <a:srgbClr val="002D96"/>
              </a:buClr>
              <a:buSzPct val="75000"/>
              <a:buFont typeface="Wingdings" panose="05000000000000000000" pitchFamily="2" charset="2"/>
              <a:buChar char="n"/>
              <a:defRPr sz="2200" b="1"/>
            </a:lvl1pPr>
            <a:lvl2pPr marL="720000" indent="-234000">
              <a:buClr>
                <a:srgbClr val="5D6C82"/>
              </a:buClr>
              <a:buSzPct val="75000"/>
              <a:buFont typeface="Wingdings" panose="05000000000000000000" pitchFamily="2" charset="2"/>
              <a:buChar char="n"/>
              <a:defRPr sz="1800"/>
            </a:lvl2pPr>
            <a:lvl3pPr marL="1044000" indent="-252000">
              <a:buSzPct val="120000"/>
              <a:buFont typeface="Arial" panose="020B0604020202020204" pitchFamily="34" charset="0"/>
              <a:buChar char="■"/>
              <a:defRPr sz="1800"/>
            </a:lvl3pPr>
            <a:lvl4pPr marL="1368000" indent="-216000">
              <a:buSzPct val="110000"/>
              <a:buFont typeface="Arial" panose="020B0604020202020204" pitchFamily="34" charset="0"/>
              <a:buChar char="■"/>
              <a:defRPr sz="1600"/>
            </a:lvl4pPr>
            <a:lvl5pPr marL="1692000" indent="-180000">
              <a:buSzPct val="110000"/>
              <a:buFont typeface="Arial" panose="020B0604020202020204" pitchFamily="34" charset="0"/>
              <a:buChar char="■"/>
              <a:defRPr sz="1400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0" name="Zástupný symbol pro obrázek 12"/>
          <p:cNvSpPr>
            <a:spLocks noGrp="1"/>
          </p:cNvSpPr>
          <p:nvPr>
            <p:ph type="pic" sz="quarter" idx="15" hasCustomPrompt="1"/>
          </p:nvPr>
        </p:nvSpPr>
        <p:spPr>
          <a:xfrm>
            <a:off x="8361675" y="3228975"/>
            <a:ext cx="2520000" cy="1980000"/>
          </a:xfrm>
        </p:spPr>
        <p:txBody>
          <a:bodyPr anchor="ctr" anchorCtr="0"/>
          <a:lstStyle>
            <a:lvl1pPr marL="0" indent="0" algn="ctr">
              <a:buNone/>
              <a:defRPr sz="2000"/>
            </a:lvl1pPr>
          </a:lstStyle>
          <a:p>
            <a:r>
              <a:rPr lang="cs-CZ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7208541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Obdélník 18"/>
          <p:cNvSpPr/>
          <p:nvPr userDrawn="1"/>
        </p:nvSpPr>
        <p:spPr>
          <a:xfrm>
            <a:off x="11934000" y="6602400"/>
            <a:ext cx="255600" cy="255600"/>
          </a:xfrm>
          <a:prstGeom prst="rect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350"/>
          </a:p>
        </p:txBody>
      </p:sp>
      <p:sp>
        <p:nvSpPr>
          <p:cNvPr id="17" name="Zástupný symbol pro zápatí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pyright © Unicorn Systems a.s.</a:t>
            </a:r>
          </a:p>
        </p:txBody>
      </p:sp>
      <p:sp>
        <p:nvSpPr>
          <p:cNvPr id="18" name="Zástupný symbol pro číslo snímku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99553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ěžný snímek, 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/>
              <a:t>Kliknutím vložíte nadpis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675" b="0" i="0" u="none" strike="noStrike" kern="1200" cap="none" spc="0" normalizeH="0" baseline="0" noProof="0">
                <a:ln>
                  <a:noFill/>
                </a:ln>
                <a:solidFill>
                  <a:srgbClr val="5D6C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pyright </a:t>
            </a: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5D6C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</a:t>
            </a:r>
            <a:r>
              <a:rPr kumimoji="0" lang="cs-CZ" sz="675" b="0" i="0" u="none" strike="noStrike" kern="1200" cap="none" spc="0" normalizeH="0" baseline="0" noProof="0" err="1">
                <a:ln>
                  <a:noFill/>
                </a:ln>
                <a:solidFill>
                  <a:srgbClr val="5D6C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corn</a:t>
            </a:r>
            <a:r>
              <a:rPr kumimoji="0" lang="cs-CZ" sz="675" b="0" i="0" u="none" strike="noStrike" kern="1200" cap="none" spc="0" normalizeH="0" baseline="0" noProof="0">
                <a:ln>
                  <a:noFill/>
                </a:ln>
                <a:solidFill>
                  <a:srgbClr val="5D6C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ystems a.s.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1BEBC6-AE21-4DEA-82CA-C5B7C0A09A9D}" type="slidenum">
              <a:rPr kumimoji="0" lang="cs-CZ" sz="675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675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391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5761094C-EF66-425D-BB18-7FDE2BFC46AC}"/>
              </a:ext>
            </a:extLst>
          </p:cNvPr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30114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Callout &quot;People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7" name="Obrázek 6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199" y="668913"/>
            <a:ext cx="4773582" cy="4669941"/>
          </a:xfrm>
          <a:prstGeom prst="rect">
            <a:avLst/>
          </a:prstGeom>
        </p:spPr>
      </p:pic>
      <p:pic>
        <p:nvPicPr>
          <p:cNvPr id="6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4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5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67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73687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Bulb &quot;Idea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6" name="Obrázek 5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41633"/>
            <a:ext cx="3273836" cy="4852837"/>
          </a:xfrm>
          <a:prstGeom prst="rect">
            <a:avLst/>
          </a:prstGeom>
        </p:spPr>
      </p:pic>
      <p:pic>
        <p:nvPicPr>
          <p:cNvPr id="7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139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Head &quot;Planning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7" name="Obrázek 6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307" y="547138"/>
            <a:ext cx="5182049" cy="5041829"/>
          </a:xfrm>
          <a:prstGeom prst="rect">
            <a:avLst/>
          </a:prstGeom>
        </p:spPr>
      </p:pic>
      <p:pic>
        <p:nvPicPr>
          <p:cNvPr id="6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112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Head &quot;Partners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7" name="Obrázek 6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307" y="547138"/>
            <a:ext cx="5182049" cy="5041829"/>
          </a:xfrm>
          <a:prstGeom prst="rect">
            <a:avLst/>
          </a:prstGeom>
        </p:spPr>
      </p:pic>
      <p:pic>
        <p:nvPicPr>
          <p:cNvPr id="12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3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4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24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Globe &quot;Experience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6" name="Obrázek 5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1583" y="613244"/>
            <a:ext cx="5413717" cy="4749196"/>
          </a:xfrm>
          <a:prstGeom prst="rect">
            <a:avLst/>
          </a:prstGeom>
        </p:spPr>
      </p:pic>
      <p:pic>
        <p:nvPicPr>
          <p:cNvPr id="12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3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4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029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Cloud &quot;Cloud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7" name="shadow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479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Cogwheel &quot;Solutions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7" name="shadow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943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Coin &quot;Value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7" name="shadow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078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- Thank You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r>
              <a:rPr lang="cs-CZ" noProof="0"/>
              <a:t> (</a:t>
            </a:r>
            <a:r>
              <a:rPr lang="en-US"/>
              <a:t>Thank You</a:t>
            </a:r>
            <a:r>
              <a:rPr lang="cs-CZ"/>
              <a:t>)</a:t>
            </a:r>
          </a:p>
        </p:txBody>
      </p:sp>
      <p:pic>
        <p:nvPicPr>
          <p:cNvPr id="7" name="Obrázek 6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440" y="582917"/>
            <a:ext cx="4779678" cy="4938188"/>
          </a:xfrm>
          <a:prstGeom prst="rect">
            <a:avLst/>
          </a:prstGeom>
        </p:spPr>
      </p:pic>
      <p:pic>
        <p:nvPicPr>
          <p:cNvPr id="6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8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1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30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- Bulb &quot;Know-how&quot;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51500"/>
            <a:ext cx="12192000" cy="1206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>
          <a:xfrm>
            <a:off x="-52801" y="226475"/>
            <a:ext cx="11524800" cy="577990"/>
          </a:xfrm>
          <a:noFill/>
          <a:ln>
            <a:noFill/>
          </a:ln>
          <a:effectLst/>
        </p:spPr>
        <p:txBody>
          <a:bodyPr wrap="square" lIns="0" tIns="86400" rIns="0" bIns="28800" anchor="t" anchorCtr="0">
            <a:spAutoFit/>
          </a:bodyPr>
          <a:lstStyle>
            <a:lvl1pPr marL="579600" indent="-579600">
              <a:lnSpc>
                <a:spcPts val="3600"/>
              </a:lnSpc>
              <a:buClr>
                <a:srgbClr val="00BEFF"/>
              </a:buClr>
              <a:buSzPct val="145000"/>
              <a:buFont typeface="Arial" panose="020B0604020202020204" pitchFamily="34" charset="0"/>
              <a:buChar char="■"/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  <a:endParaRPr lang="cs-CZ"/>
          </a:p>
        </p:txBody>
      </p:sp>
      <p:pic>
        <p:nvPicPr>
          <p:cNvPr id="6" name="Obrázek 5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41633"/>
            <a:ext cx="3273836" cy="4852837"/>
          </a:xfrm>
          <a:prstGeom prst="rect">
            <a:avLst/>
          </a:prstGeom>
        </p:spPr>
      </p:pic>
      <p:pic>
        <p:nvPicPr>
          <p:cNvPr id="15" name="shadow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6" name="symbol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  <p:pic>
        <p:nvPicPr>
          <p:cNvPr id="17" name="outline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60000"/>
            <a:ext cx="652500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273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28533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101283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656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here to edit Headline 1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4946F984-52C9-42CD-9A49-67651F98742E}"/>
              </a:ext>
            </a:extLst>
          </p:cNvPr>
          <p:cNvSpPr/>
          <p:nvPr userDrawn="1"/>
        </p:nvSpPr>
        <p:spPr>
          <a:xfrm flipH="1">
            <a:off x="287866" y="11509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340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98324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988729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587166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7275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927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097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16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77462-215E-4B68-A18C-CFFBBF475EA9}" type="datetime1">
              <a:rPr lang="en-US" smtClean="0"/>
              <a:t>2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E6D71C-ACD7-49D2-9689-F9C4024FAC38}" type="slidenum">
              <a:rPr lang="en-IE" smtClean="0">
                <a:solidFill>
                  <a:srgbClr val="3F3F3F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IE">
              <a:solidFill>
                <a:srgbClr val="3F3F3F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236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665651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>
            <a:extLst>
              <a:ext uri="{FF2B5EF4-FFF2-40B4-BE49-F238E27FC236}">
                <a16:creationId xmlns:a16="http://schemas.microsoft.com/office/drawing/2014/main" id="{E3217584-8D20-4380-BB01-BE1908521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C648BC7-A18A-4A39-805B-D1DC80B0E9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10" name="Rechteck 1">
            <a:extLst>
              <a:ext uri="{FF2B5EF4-FFF2-40B4-BE49-F238E27FC236}">
                <a16:creationId xmlns:a16="http://schemas.microsoft.com/office/drawing/2014/main" id="{A331ABB7-B6F3-4D26-B61C-EFA0A39BA0A8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554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863281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552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50083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739123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301618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3065118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1007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   </a:t>
            </a:r>
            <a:br>
              <a:rPr lang="de-DE" b="1" dirty="0"/>
            </a:br>
            <a:r>
              <a:rPr lang="de-DE" b="1" dirty="0"/>
              <a:t> </a:t>
            </a:r>
            <a:endParaRPr lang="de-DE" b="1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r>
              <a:rPr lang="de-DE" sz="900" i="1" dirty="0">
                <a:solidFill>
                  <a:prstClr val="black"/>
                </a:solidFill>
              </a:rPr>
              <a:t>Source: Insert </a:t>
            </a:r>
            <a:r>
              <a:rPr lang="de-DE" sz="900" i="1" dirty="0" err="1">
                <a:solidFill>
                  <a:prstClr val="black"/>
                </a:solidFill>
              </a:rPr>
              <a:t>here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if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applicable</a:t>
            </a:r>
            <a:endParaRPr lang="de-DE" sz="900" dirty="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6078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pi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har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on it. </a:t>
            </a:r>
            <a:r>
              <a:rPr lang="de-DE" dirty="0" err="1">
                <a:solidFill>
                  <a:srgbClr val="0F218B"/>
                </a:solidFill>
              </a:rPr>
              <a:t>Now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</a:t>
            </a:r>
            <a:r>
              <a:rPr lang="de-DE" dirty="0">
                <a:solidFill>
                  <a:srgbClr val="0F218B"/>
                </a:solidFill>
              </a:rPr>
              <a:t>. </a:t>
            </a:r>
            <a:r>
              <a:rPr lang="de-DE" dirty="0" err="1">
                <a:solidFill>
                  <a:srgbClr val="0F218B"/>
                </a:solidFill>
              </a:rPr>
              <a:t>If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you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keep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ursor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bo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, a </a:t>
            </a:r>
            <a:r>
              <a:rPr lang="de-DE" dirty="0" err="1">
                <a:solidFill>
                  <a:srgbClr val="0F218B"/>
                </a:solidFill>
              </a:rPr>
              <a:t>descripti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s</a:t>
            </a:r>
            <a:r>
              <a:rPr lang="de-DE" dirty="0">
                <a:solidFill>
                  <a:srgbClr val="0F218B"/>
                </a:solidFill>
              </a:rPr>
              <a:t>. 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and </a:t>
            </a:r>
            <a:r>
              <a:rPr lang="de-DE" dirty="0" err="1"/>
              <a:t>colour</a:t>
            </a:r>
            <a:r>
              <a:rPr lang="de-DE" dirty="0"/>
              <a:t> </a:t>
            </a:r>
            <a:r>
              <a:rPr lang="de-DE" dirty="0" err="1"/>
              <a:t>scheme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vi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frai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radients</a:t>
            </a:r>
            <a:r>
              <a:rPr lang="de-DE" dirty="0"/>
              <a:t> and </a:t>
            </a:r>
            <a:r>
              <a:rPr lang="de-DE" dirty="0" err="1"/>
              <a:t>shadows</a:t>
            </a:r>
            <a:r>
              <a:rPr lang="de-DE" dirty="0"/>
              <a:t> –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. </a:t>
            </a:r>
          </a:p>
          <a:p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61445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65183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 dirty="0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0895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genera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jus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abstracts</a:t>
            </a:r>
            <a:r>
              <a:rPr lang="de-DE" dirty="0"/>
              <a:t> -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creen </a:t>
            </a:r>
            <a:r>
              <a:rPr lang="de-DE" dirty="0" err="1"/>
              <a:t>presentation</a:t>
            </a:r>
            <a:r>
              <a:rPr lang="de-DE" dirty="0"/>
              <a:t>, and </a:t>
            </a:r>
            <a:r>
              <a:rPr lang="de-DE" dirty="0" err="1"/>
              <a:t>nobody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 dirty="0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Be aware that there is a significant difference between using only the enter-key and using the combination of enter- and shift-key</a:t>
            </a:r>
            <a:r>
              <a:rPr lang="de-DE" dirty="0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xtbox</a:t>
            </a:r>
            <a:r>
              <a:rPr lang="de-DE" dirty="0"/>
              <a:t>,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ter-</a:t>
            </a:r>
            <a:r>
              <a:rPr lang="de-DE" dirty="0" err="1"/>
              <a:t>key</a:t>
            </a:r>
            <a:r>
              <a:rPr lang="de-DE" dirty="0"/>
              <a:t> will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aragraph</a:t>
            </a:r>
            <a:r>
              <a:rPr lang="de-DE" dirty="0"/>
              <a:t>, </a:t>
            </a:r>
            <a:r>
              <a:rPr lang="de-DE" dirty="0" err="1"/>
              <a:t>causing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in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(lik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) and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, </a:t>
            </a:r>
            <a:r>
              <a:rPr lang="de-DE" dirty="0" err="1"/>
              <a:t>use</a:t>
            </a:r>
            <a:r>
              <a:rPr lang="de-DE" dirty="0"/>
              <a:t> shift-</a:t>
            </a:r>
            <a:r>
              <a:rPr lang="de-DE" dirty="0" err="1"/>
              <a:t>enter</a:t>
            </a:r>
            <a:r>
              <a:rPr lang="de-DE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546690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here</a:t>
            </a:r>
            <a:r>
              <a:rPr lang="de-DE" dirty="0">
                <a:solidFill>
                  <a:srgbClr val="0F218B"/>
                </a:solidFill>
              </a:rPr>
              <a:t>.</a:t>
            </a:r>
            <a:endParaRPr lang="de-DE" i="1" dirty="0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 dirty="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68001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F218B"/>
                </a:solidFill>
              </a:rPr>
              <a:t>Headline 3 – Edit </a:t>
            </a:r>
            <a:r>
              <a:rPr lang="de-DE" b="1" dirty="0" err="1">
                <a:solidFill>
                  <a:srgbClr val="0F218B"/>
                </a:solidFill>
              </a:rPr>
              <a:t>text</a:t>
            </a:r>
            <a:r>
              <a:rPr lang="de-DE" b="1" dirty="0">
                <a:solidFill>
                  <a:srgbClr val="0F218B"/>
                </a:solidFill>
              </a:rPr>
              <a:t> </a:t>
            </a:r>
            <a:r>
              <a:rPr lang="de-DE" b="1" dirty="0" err="1">
                <a:solidFill>
                  <a:srgbClr val="0F218B"/>
                </a:solidFill>
              </a:rPr>
              <a:t>here</a:t>
            </a:r>
            <a:r>
              <a:rPr lang="de-DE" b="1" dirty="0">
                <a:solidFill>
                  <a:srgbClr val="0F218B"/>
                </a:solidFill>
              </a:rPr>
              <a:t>.</a:t>
            </a:r>
            <a:endParaRPr lang="de-DE" b="1" i="1" dirty="0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917821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F218B"/>
                </a:solidFill>
              </a:rPr>
              <a:t>Headline 3 – These SmartArt </a:t>
            </a:r>
            <a:r>
              <a:rPr lang="de-DE" dirty="0" err="1">
                <a:solidFill>
                  <a:srgbClr val="0F218B"/>
                </a:solidFill>
              </a:rPr>
              <a:t>chart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an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dited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directl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in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lements</a:t>
            </a:r>
            <a:r>
              <a:rPr lang="de-DE" dirty="0">
                <a:solidFill>
                  <a:srgbClr val="0F218B"/>
                </a:solidFill>
              </a:rPr>
              <a:t>, </a:t>
            </a:r>
            <a:r>
              <a:rPr lang="de-DE" dirty="0" err="1">
                <a:solidFill>
                  <a:srgbClr val="0F218B"/>
                </a:solidFill>
              </a:rPr>
              <a:t>then</a:t>
            </a:r>
            <a:r>
              <a:rPr lang="de-DE" dirty="0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75491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8556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9833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38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76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6591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53354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23081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253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813174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973779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943316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99794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24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937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455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211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87049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9.emf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59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2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0F1295-36F3-43C0-549A-0B71D63BA0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86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0F1295-36F3-43C0-549A-0B71D63BA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" t="35785" r="10060" b="21055"/>
          <a:stretch/>
        </p:blipFill>
        <p:spPr>
          <a:xfrm>
            <a:off x="480000" y="1944000"/>
            <a:ext cx="11712000" cy="3600000"/>
          </a:xfrm>
          <a:prstGeom prst="rect">
            <a:avLst/>
          </a:prstGeom>
        </p:spPr>
      </p:pic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79999" y="476673"/>
            <a:ext cx="10154345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6381" y="5805265"/>
            <a:ext cx="2408533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2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/>
          </a:p>
        </p:txBody>
      </p:sp>
    </p:spTree>
    <p:extLst>
      <p:ext uri="{BB962C8B-B14F-4D97-AF65-F5344CB8AC3E}">
        <p14:creationId xmlns:p14="http://schemas.microsoft.com/office/powerpoint/2010/main" val="1179008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11" rtl="0" eaLnBrk="1" latinLnBrk="0" hangingPunct="1">
        <a:lnSpc>
          <a:spcPts val="2601"/>
        </a:lnSpc>
        <a:spcBef>
          <a:spcPts val="1001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9" indent="-228604" algn="l" defTabSz="914411" rtl="0" eaLnBrk="1" latinLnBrk="0" hangingPunct="1">
        <a:lnSpc>
          <a:spcPts val="2601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ts val="2601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ts val="2601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ts val="2601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2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/>
          <p:cNvSpPr/>
          <p:nvPr userDrawn="1"/>
        </p:nvSpPr>
        <p:spPr>
          <a:xfrm>
            <a:off x="11937600" y="6602400"/>
            <a:ext cx="255600" cy="255600"/>
          </a:xfrm>
          <a:prstGeom prst="rect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35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00" y="1"/>
            <a:ext cx="11232000" cy="813415"/>
          </a:xfrm>
          <a:prstGeom prst="rect">
            <a:avLst/>
          </a:prstGeom>
          <a:noFill/>
          <a:effectLst/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/>
              <a:t>Click to add tit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080000"/>
            <a:ext cx="11232000" cy="54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761600" y="655912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 b="0">
                <a:solidFill>
                  <a:srgbClr val="5D6C82"/>
                </a:solidFill>
              </a:defRPr>
            </a:lvl1pPr>
          </a:lstStyle>
          <a:p>
            <a:r>
              <a:rPr lang="en-US" noProof="0"/>
              <a:t>Copyright © Unicorn Systems a.s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62000" y="6550328"/>
            <a:ext cx="4044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b="1">
                <a:solidFill>
                  <a:schemeClr val="bg1"/>
                </a:solidFill>
              </a:defRPr>
            </a:lvl1pPr>
          </a:lstStyle>
          <a:p>
            <a:fld id="{851BEBC6-AE21-4DEA-82CA-C5B7C0A09A9D}" type="slidenum">
              <a:rPr lang="cs-CZ" smtClean="0"/>
              <a:pPr/>
              <a:t>‹#›</a:t>
            </a:fld>
            <a:endParaRPr lang="cs-CZ"/>
          </a:p>
        </p:txBody>
      </p:sp>
      <p:cxnSp>
        <p:nvCxnSpPr>
          <p:cNvPr id="8" name="Přímá spojnice 7"/>
          <p:cNvCxnSpPr/>
          <p:nvPr userDrawn="1"/>
        </p:nvCxnSpPr>
        <p:spPr>
          <a:xfrm>
            <a:off x="479999" y="842615"/>
            <a:ext cx="11712000" cy="0"/>
          </a:xfrm>
          <a:prstGeom prst="line">
            <a:avLst/>
          </a:prstGeom>
          <a:ln w="50800">
            <a:solidFill>
              <a:srgbClr val="00A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000" y="6356357"/>
            <a:ext cx="27432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20F279B5-95C6-4955-98E7-8DC5AFFDF942}" type="datetime1">
              <a:rPr lang="en-US" smtClean="0"/>
              <a:t>2/10/20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758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  <p:sldLayoutId id="2147483836" r:id="rId25"/>
    <p:sldLayoutId id="2147483837" r:id="rId26"/>
    <p:sldLayoutId id="2147483838" r:id="rId27"/>
    <p:sldLayoutId id="2147483839" r:id="rId28"/>
  </p:sldLayoutIdLst>
  <p:hf hdr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2800" b="1" kern="1200" cap="none" baseline="0">
          <a:solidFill>
            <a:srgbClr val="002D96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783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rgbClr val="00AFFF"/>
        </a:buClr>
        <a:buSzPct val="75000"/>
        <a:buFont typeface="Wingdings" panose="05000000000000000000" pitchFamily="2" charset="2"/>
        <a:buChar char="n"/>
        <a:defRPr sz="2400" kern="1200" baseline="0">
          <a:solidFill>
            <a:srgbClr val="536278"/>
          </a:solidFill>
          <a:latin typeface="+mn-lt"/>
          <a:ea typeface="+mn-ea"/>
          <a:cs typeface="+mn-cs"/>
        </a:defRPr>
      </a:lvl1pPr>
      <a:lvl2pPr marL="576000" indent="-2520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1E8C"/>
        </a:buClr>
        <a:buSzPct val="75000"/>
        <a:buFont typeface="Wingdings" panose="05000000000000000000" pitchFamily="2" charset="2"/>
        <a:buChar char="n"/>
        <a:defRPr sz="2000" kern="1200" baseline="0">
          <a:solidFill>
            <a:srgbClr val="5D6C82"/>
          </a:solidFill>
          <a:latin typeface="+mn-lt"/>
          <a:ea typeface="+mn-ea"/>
          <a:cs typeface="+mn-cs"/>
        </a:defRPr>
      </a:lvl2pPr>
      <a:lvl3pPr marL="954000" indent="-2340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D6C82"/>
        </a:buClr>
        <a:buSzPct val="75000"/>
        <a:buFont typeface="Wingdings" panose="05000000000000000000" pitchFamily="2" charset="2"/>
        <a:buChar char="n"/>
        <a:defRPr sz="1800" kern="1200" baseline="0">
          <a:solidFill>
            <a:srgbClr val="5D6C82"/>
          </a:solidFill>
          <a:latin typeface="+mn-lt"/>
          <a:ea typeface="+mn-ea"/>
          <a:cs typeface="+mn-cs"/>
        </a:defRPr>
      </a:lvl3pPr>
      <a:lvl4pPr marL="1314000" indent="-198000" algn="l" defTabSz="685783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Clr>
          <a:srgbClr val="5D6C82"/>
        </a:buClr>
        <a:buSzPct val="75000"/>
        <a:buFont typeface="Wingdings" panose="05000000000000000000" pitchFamily="2" charset="2"/>
        <a:buChar char="n"/>
        <a:defRPr sz="1600" kern="1200" baseline="0">
          <a:solidFill>
            <a:srgbClr val="5D6C82"/>
          </a:solidFill>
          <a:latin typeface="+mn-lt"/>
          <a:ea typeface="+mn-ea"/>
          <a:cs typeface="+mn-cs"/>
        </a:defRPr>
      </a:lvl4pPr>
      <a:lvl5pPr marL="1692000" indent="-180000" algn="l" defTabSz="685783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Clr>
          <a:srgbClr val="5D6C82"/>
        </a:buClr>
        <a:buSzPct val="75000"/>
        <a:buFont typeface="Wingdings" panose="05000000000000000000" pitchFamily="2" charset="2"/>
        <a:buChar char="n"/>
        <a:defRPr sz="1400" kern="1200" baseline="0">
          <a:solidFill>
            <a:srgbClr val="5D6C82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39CDF2-67CC-27F4-4C27-889FBB2B1D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9" imgH="408" progId="TCLayout.ActiveDocument.1">
                  <p:embed/>
                </p:oleObj>
              </mc:Choice>
              <mc:Fallback>
                <p:oleObj name="think-cell Slide" r:id="rId14" imgW="409" imgH="40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39CDF2-67CC-27F4-4C27-889FBB2B1D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369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" t="35785" r="10060" b="21055"/>
          <a:stretch/>
        </p:blipFill>
        <p:spPr>
          <a:xfrm>
            <a:off x="480000" y="1944000"/>
            <a:ext cx="11712000" cy="3600000"/>
          </a:xfrm>
          <a:prstGeom prst="rect">
            <a:avLst/>
          </a:prstGeom>
        </p:spPr>
      </p:pic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79999" y="476672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117092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432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83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s.office.com/Pages/ResponsePage.aspx?id=z-z7fxsMbEmJeIkgnC03XSynrcIalsJNlxUU7FdqhdpUNUpRTkQ0U0dYT1hKU0FHUVlLOUQ5RDQxQy4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51.jpeg"/><Relationship Id="rId4" Type="http://schemas.openxmlformats.org/officeDocument/2006/relationships/hyperlink" Target="mailto:transparency@entsoe.e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C13E7-A3D2-293C-A382-A5EF35FC3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99D58418-56BB-15C2-49A4-0C0C6081FA62}"/>
              </a:ext>
            </a:extLst>
          </p:cNvPr>
          <p:cNvSpPr/>
          <p:nvPr/>
        </p:nvSpPr>
        <p:spPr>
          <a:xfrm>
            <a:off x="0" y="0"/>
            <a:ext cx="3223034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D400249-5A7C-3FF0-50F6-752BC96A10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4226" y="908719"/>
            <a:ext cx="8394580" cy="5652417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ts val="900"/>
              </a:spcBef>
            </a:pP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ENTSO-E has launched a new </a:t>
            </a: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  <a:hlinkClick r:id="rId3"/>
              </a:rPr>
              <a:t>user survey </a:t>
            </a: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to gather feedback from Transparency Platform users on functionality, usability, and shortcomings, with the goal of identifying the most pressing issues that ENTSO-E should address based on broader user input.</a:t>
            </a:r>
          </a:p>
          <a:p>
            <a:pPr>
              <a:spcBef>
                <a:spcPts val="900"/>
              </a:spcBef>
            </a:pPr>
            <a:endParaRPr lang="en-GB" sz="1600" dirty="0">
              <a:solidFill>
                <a:srgbClr val="0E0E0E"/>
              </a:solidFill>
              <a:latin typeface="Calibri"/>
              <a:ea typeface="Calibri"/>
              <a:cs typeface="Calibri"/>
            </a:endParaRPr>
          </a:p>
          <a:p>
            <a:pPr>
              <a:spcBef>
                <a:spcPts val="900"/>
              </a:spcBef>
            </a:pP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The survey, open until </a:t>
            </a:r>
            <a:r>
              <a:rPr lang="en-GB" sz="1600" b="1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24th February 2025</a:t>
            </a: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, aims to collect feedback beyond the regular feedback received from ENTSO-E Transparency User Group and Co-Creation User Group and their members. </a:t>
            </a:r>
          </a:p>
          <a:p>
            <a:pPr>
              <a:spcBef>
                <a:spcPts val="900"/>
              </a:spcBef>
            </a:pPr>
            <a:endParaRPr lang="en-GB" sz="1600" dirty="0">
              <a:solidFill>
                <a:srgbClr val="0E0E0E"/>
              </a:solidFill>
              <a:latin typeface="Calibri"/>
              <a:ea typeface="Calibri"/>
              <a:cs typeface="Calibri"/>
            </a:endParaRPr>
          </a:p>
          <a:p>
            <a:pPr>
              <a:spcBef>
                <a:spcPts val="900"/>
              </a:spcBef>
            </a:pP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The survey is focused around the following main categories:</a:t>
            </a: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r>
              <a:rPr lang="en-GB" sz="1600" noProof="0" dirty="0">
                <a:solidFill>
                  <a:srgbClr val="0E0E0E"/>
                </a:solidFill>
                <a:effectLst/>
                <a:latin typeface="Calibri"/>
                <a:ea typeface="Calibri"/>
                <a:cs typeface="Calibri"/>
              </a:rPr>
              <a:t>Platform usage – data channels, frequency, other sources, your need (tasks, data types), new requirements</a:t>
            </a: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r>
              <a:rPr lang="en-GB" sz="1600" noProof="0" dirty="0">
                <a:solidFill>
                  <a:srgbClr val="0E0E0E"/>
                </a:solidFill>
                <a:effectLst/>
                <a:latin typeface="Calibri"/>
                <a:ea typeface="Calibri"/>
              </a:rPr>
              <a:t>Data Accessibility and Usability – user experience, areas of attention, knowledge management, exporting data, improvements</a:t>
            </a: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r>
              <a:rPr lang="en-GB" sz="1600" noProof="0" dirty="0">
                <a:solidFill>
                  <a:srgbClr val="0E0E0E"/>
                </a:solidFill>
                <a:effectLst/>
                <a:latin typeface="Calibri"/>
                <a:ea typeface="Calibri"/>
              </a:rPr>
              <a:t>Data quality and Reliability – satisfaction, specific issues, new requirements (formats, categories)</a:t>
            </a: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r>
              <a:rPr lang="en-GB" sz="1600" noProof="0" dirty="0">
                <a:solidFill>
                  <a:srgbClr val="0E0E0E"/>
                </a:solidFill>
                <a:effectLst/>
                <a:latin typeface="Calibri"/>
                <a:ea typeface="Calibri"/>
              </a:rPr>
              <a:t>Overall Satisfaction – performance and improvements</a:t>
            </a: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r>
              <a:rPr lang="en-GB" sz="1600" noProof="0" dirty="0">
                <a:solidFill>
                  <a:srgbClr val="0E0E0E"/>
                </a:solidFill>
                <a:effectLst/>
                <a:latin typeface="Calibri"/>
                <a:ea typeface="Calibri"/>
              </a:rPr>
              <a:t>User Engagement – communication channels, lead time notice</a:t>
            </a:r>
            <a:endParaRPr lang="en-GB" sz="1600" dirty="0">
              <a:solidFill>
                <a:srgbClr val="0E0E0E"/>
              </a:solidFill>
              <a:latin typeface="Calibri"/>
              <a:ea typeface="Calibri"/>
              <a:cs typeface="Calibri"/>
            </a:endParaRPr>
          </a:p>
          <a:p>
            <a:pPr>
              <a:spcBef>
                <a:spcPts val="900"/>
              </a:spcBef>
            </a:pPr>
            <a:endParaRPr lang="en-GB" sz="1600" dirty="0">
              <a:solidFill>
                <a:srgbClr val="0E0E0E"/>
              </a:solidFill>
              <a:latin typeface="Calibri"/>
              <a:ea typeface="Calibri"/>
              <a:cs typeface="Calibri"/>
            </a:endParaRPr>
          </a:p>
          <a:p>
            <a:pPr>
              <a:spcBef>
                <a:spcPts val="900"/>
              </a:spcBef>
            </a:pPr>
            <a:r>
              <a:rPr lang="en-GB" sz="1600" dirty="0">
                <a:solidFill>
                  <a:srgbClr val="0E0E0E"/>
                </a:solidFill>
                <a:latin typeface="Calibri"/>
                <a:ea typeface="Calibri"/>
                <a:cs typeface="Calibri"/>
              </a:rPr>
              <a:t>ENTSO-E invites all interested parties to submit any requests for new functionalities to the Transparency Platform via the service desk by sending an e-mail to </a:t>
            </a:r>
            <a:r>
              <a:rPr lang="en-GB" sz="1600" b="0" i="0" dirty="0">
                <a:solidFill>
                  <a:srgbClr val="363D82"/>
                </a:solidFill>
                <a:effectLst/>
                <a:latin typeface="Arial" panose="020B0604020202020204" pitchFamily="34" charset="0"/>
                <a:hlinkClick r:id="rId4"/>
              </a:rPr>
              <a:t>transparency@entsoe.eu</a:t>
            </a:r>
            <a:r>
              <a:rPr lang="en-GB" sz="16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endParaRPr lang="en-GB" sz="1600" dirty="0">
              <a:solidFill>
                <a:srgbClr val="0E0E0E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endParaRPr lang="en-GB" sz="1600" noProof="0" dirty="0">
              <a:solidFill>
                <a:srgbClr val="0E0E0E"/>
              </a:solidFill>
              <a:effectLst/>
              <a:latin typeface="Calibri"/>
              <a:ea typeface="Calibri"/>
              <a:cs typeface="Calibri"/>
            </a:endParaRPr>
          </a:p>
          <a:p>
            <a:pPr marL="285750" indent="-285750">
              <a:spcBef>
                <a:spcPts val="900"/>
              </a:spcBef>
              <a:buFont typeface="Wingdings" pitchFamily="2" charset="2"/>
              <a:buChar char="§"/>
            </a:pPr>
            <a:endParaRPr lang="en-GB" sz="1600" noProof="0" dirty="0">
              <a:solidFill>
                <a:srgbClr val="0E0E0E"/>
              </a:solidFill>
              <a:effectLst/>
              <a:latin typeface="Calibri"/>
              <a:ea typeface="Calibri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F31B8C9-E24A-C826-DA4E-3F75B3F40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9376" y="296863"/>
            <a:ext cx="8611000" cy="356467"/>
          </a:xfrm>
        </p:spPr>
        <p:txBody>
          <a:bodyPr/>
          <a:lstStyle/>
          <a:p>
            <a:r>
              <a:rPr lang="en-GB" noProof="0" dirty="0"/>
              <a:t>Transparency Platform User Survey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74EECA1E-4F57-2A93-C1EC-1F885B2F3DFA}"/>
              </a:ext>
            </a:extLst>
          </p:cNvPr>
          <p:cNvSpPr txBox="1">
            <a:spLocks/>
          </p:cNvSpPr>
          <p:nvPr/>
        </p:nvSpPr>
        <p:spPr>
          <a:xfrm>
            <a:off x="6204158" y="296863"/>
            <a:ext cx="5796217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0F218B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cxnSp>
        <p:nvCxnSpPr>
          <p:cNvPr id="5" name="Gerade Verbindung 21">
            <a:extLst>
              <a:ext uri="{FF2B5EF4-FFF2-40B4-BE49-F238E27FC236}">
                <a16:creationId xmlns:a16="http://schemas.microsoft.com/office/drawing/2014/main" id="{AD88F0D2-615C-E04B-8A1A-1C119435553A}"/>
              </a:ext>
            </a:extLst>
          </p:cNvPr>
          <p:cNvCxnSpPr>
            <a:cxnSpLocks/>
          </p:cNvCxnSpPr>
          <p:nvPr/>
        </p:nvCxnSpPr>
        <p:spPr>
          <a:xfrm flipV="1">
            <a:off x="3371770" y="296863"/>
            <a:ext cx="0" cy="356467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3F12173-0402-717E-FDD5-A9A2386505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2230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4406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c1f8f5c-d3b6-4dd0-88ef-77624b91966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2.xml><?xml version="1.0" encoding="utf-8"?>
<a:theme xmlns:a="http://schemas.openxmlformats.org/drawingml/2006/main" name="1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399146C8-DCE8-F245-A93F-AF34774DA1F6}"/>
    </a:ext>
  </a:extLst>
</a:theme>
</file>

<file path=ppt/theme/theme3.xml><?xml version="1.0" encoding="utf-8"?>
<a:theme xmlns:a="http://schemas.openxmlformats.org/drawingml/2006/main" name="Unicorn">
  <a:themeElements>
    <a:clrScheme name="Unicorn">
      <a:dk1>
        <a:srgbClr val="FFFFFF"/>
      </a:dk1>
      <a:lt1>
        <a:srgbClr val="FFFFFF"/>
      </a:lt1>
      <a:dk2>
        <a:srgbClr val="001E6E"/>
      </a:dk2>
      <a:lt2>
        <a:srgbClr val="FFFFFF"/>
      </a:lt2>
      <a:accent1>
        <a:srgbClr val="D21428"/>
      </a:accent1>
      <a:accent2>
        <a:srgbClr val="3EDBFF"/>
      </a:accent2>
      <a:accent3>
        <a:srgbClr val="FFFFFF"/>
      </a:accent3>
      <a:accent4>
        <a:srgbClr val="BDC5D1"/>
      </a:accent4>
      <a:accent5>
        <a:srgbClr val="8993A3"/>
      </a:accent5>
      <a:accent6>
        <a:srgbClr val="5D6C82"/>
      </a:accent6>
      <a:hlink>
        <a:srgbClr val="3EDBFF"/>
      </a:hlink>
      <a:folHlink>
        <a:srgbClr val="5D6C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Y-UNI_sablona prezentace_16ku9_EN_005_final.potx" id="{8440FAAA-8624-45EF-9568-9B8B084D628E}" vid="{E1AE9AAB-51E6-4142-A9F6-EF26D574F29B}"/>
    </a:ext>
  </a:extLst>
</a:theme>
</file>

<file path=ppt/theme/theme4.xml><?xml version="1.0" encoding="utf-8"?>
<a:theme xmlns:a="http://schemas.openxmlformats.org/drawingml/2006/main" name="11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5B43BAD4-03AB-4DCB-B2C9-2C2FA02EC2DF}"/>
    </a:ext>
  </a:extLst>
</a:theme>
</file>

<file path=ppt/theme/theme5.xml><?xml version="1.0" encoding="utf-8"?>
<a:theme xmlns:a="http://schemas.openxmlformats.org/drawingml/2006/main" name="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399146C8-DCE8-F245-A93F-AF34774DA1F6}"/>
    </a:ext>
  </a:extLst>
</a:theme>
</file>

<file path=ppt/theme/theme6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7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5B43BAD4-03AB-4DCB-B2C9-2C2FA02EC2DF}"/>
    </a:ext>
  </a:extLst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E7C47C44D893469940600AA1C37A14" ma:contentTypeVersion="1" ma:contentTypeDescription="Create a new document." ma:contentTypeScope="" ma:versionID="b51088ad3f91bc72a4a326c86e0f1241">
  <xsd:schema xmlns:xsd="http://www.w3.org/2001/XMLSchema" xmlns:xs="http://www.w3.org/2001/XMLSchema" xmlns:p="http://schemas.microsoft.com/office/2006/metadata/properties" xmlns:ns2="ff4ebd45-66dc-474e-854d-eb6ea0d7b1b7" targetNamespace="http://schemas.microsoft.com/office/2006/metadata/properties" ma:root="true" ma:fieldsID="3b865db7f1232ba2b70a48c389b53c32" ns2:_="">
    <xsd:import namespace="ff4ebd45-66dc-474e-854d-eb6ea0d7b1b7"/>
    <xsd:element name="properties">
      <xsd:complexType>
        <xsd:sequence>
          <xsd:element name="documentManagement">
            <xsd:complexType>
              <xsd:all>
                <xsd:element ref="ns2:Mess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4ebd45-66dc-474e-854d-eb6ea0d7b1b7" elementFormDefault="qualified">
    <xsd:import namespace="http://schemas.microsoft.com/office/2006/documentManagement/types"/>
    <xsd:import namespace="http://schemas.microsoft.com/office/infopath/2007/PartnerControls"/>
    <xsd:element name="Message" ma:index="8" nillable="true" ma:displayName="Message" ma:description="Message from sharepoint automation flow" ma:format="Dropdown" ma:internalName="Messag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ssage xmlns="ff4ebd45-66dc-474e-854d-eb6ea0d7b1b7" xsi:nil="true"/>
  </documentManagement>
</p:properties>
</file>

<file path=customXml/itemProps1.xml><?xml version="1.0" encoding="utf-8"?>
<ds:datastoreItem xmlns:ds="http://schemas.openxmlformats.org/officeDocument/2006/customXml" ds:itemID="{AE36FD24-5D1B-4ACB-B3D9-426F0DEC15CA}"/>
</file>

<file path=customXml/itemProps2.xml><?xml version="1.0" encoding="utf-8"?>
<ds:datastoreItem xmlns:ds="http://schemas.openxmlformats.org/officeDocument/2006/customXml" ds:itemID="{1CAABECF-581C-42E1-B227-2048AD9B1B28}"/>
</file>

<file path=customXml/itemProps3.xml><?xml version="1.0" encoding="utf-8"?>
<ds:datastoreItem xmlns:ds="http://schemas.openxmlformats.org/officeDocument/2006/customXml" ds:itemID="{8D294B17-782E-41A6-A55D-96F110D26B48}">
  <ds:schemaRefs>
    <ds:schemaRef ds:uri="33463e61-6418-431b-9fc9-2f9179493ae3"/>
    <ds:schemaRef ds:uri="e3fb2008-9808-4f29-aa32-2f66631018e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89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5" baseType="lpstr">
      <vt:lpstr>Aptos</vt:lpstr>
      <vt:lpstr>Arial</vt:lpstr>
      <vt:lpstr>Calibri</vt:lpstr>
      <vt:lpstr>Segoe UI</vt:lpstr>
      <vt:lpstr>Trebuchet MS</vt:lpstr>
      <vt:lpstr>Wingdings</vt:lpstr>
      <vt:lpstr>5_ENTSO-E Content</vt:lpstr>
      <vt:lpstr>1_ENTSO-E Cover</vt:lpstr>
      <vt:lpstr>Unicorn</vt:lpstr>
      <vt:lpstr>11_ENTSO-E Content</vt:lpstr>
      <vt:lpstr>ENTSO-E Cover</vt:lpstr>
      <vt:lpstr>6_ENTSO-E Content</vt:lpstr>
      <vt:lpstr>2_ENTSO-E Content</vt:lpstr>
      <vt:lpstr>think-cell Slide</vt:lpstr>
      <vt:lpstr>Transparency Platform User Surve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SO-E Transparency User Group</dc:title>
  <dc:creator>Cai Oliver Thier</dc:creator>
  <cp:lastModifiedBy>Milen Kostov</cp:lastModifiedBy>
  <cp:revision>4</cp:revision>
  <dcterms:created xsi:type="dcterms:W3CDTF">2024-11-22T00:06:54Z</dcterms:created>
  <dcterms:modified xsi:type="dcterms:W3CDTF">2025-02-10T11:1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E7C47C44D893469940600AA1C37A14</vt:lpwstr>
  </property>
  <property fmtid="{D5CDD505-2E9C-101B-9397-08002B2CF9AE}" pid="3" name="TaxKeyword">
    <vt:lpwstr/>
  </property>
  <property fmtid="{D5CDD505-2E9C-101B-9397-08002B2CF9AE}" pid="4" name="MYENTSOE_Classification2">
    <vt:lpwstr/>
  </property>
  <property fmtid="{D5CDD505-2E9C-101B-9397-08002B2CF9AE}" pid="5" name="Confidentiality">
    <vt:lpwstr/>
  </property>
  <property fmtid="{D5CDD505-2E9C-101B-9397-08002B2CF9AE}" pid="6" name="MediaServiceImageTags">
    <vt:lpwstr/>
  </property>
  <property fmtid="{D5CDD505-2E9C-101B-9397-08002B2CF9AE}" pid="7" name="MYENTSOE_Classification3">
    <vt:lpwstr/>
  </property>
  <property fmtid="{D5CDD505-2E9C-101B-9397-08002B2CF9AE}" pid="8" name="MYENTSOE_PublicType">
    <vt:lpwstr>49;#Extranet|922fc1ba-0c8d-4fbf-b30d-83722d0f30f2</vt:lpwstr>
  </property>
  <property fmtid="{D5CDD505-2E9C-101B-9397-08002B2CF9AE}" pid="9" name="MYENTSOE_SharingType">
    <vt:lpwstr>51;#Shared|04da8cfa-2b68-4725-9db5-e7b66ab623e6</vt:lpwstr>
  </property>
  <property fmtid="{D5CDD505-2E9C-101B-9397-08002B2CF9AE}" pid="10" name="MYENTSOE_DocumentClassification">
    <vt:lpwstr/>
  </property>
  <property fmtid="{D5CDD505-2E9C-101B-9397-08002B2CF9AE}" pid="11" name="MYENTSOE_Classification1">
    <vt:lpwstr/>
  </property>
  <property fmtid="{D5CDD505-2E9C-101B-9397-08002B2CF9AE}" pid="12" name="MYENTSOE_Section">
    <vt:lpwstr>50;#MC|7366e961-a820-475f-a3d2-d45454cbc454</vt:lpwstr>
  </property>
  <property fmtid="{D5CDD505-2E9C-101B-9397-08002B2CF9AE}" pid="13" name="MYENTSOE_Classification4">
    <vt:lpwstr/>
  </property>
  <property fmtid="{D5CDD505-2E9C-101B-9397-08002B2CF9AE}" pid="14" name="MYENTSOE_DataClassification">
    <vt:lpwstr/>
  </property>
</Properties>
</file>